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94" r:id="rId2"/>
    <p:sldId id="306" r:id="rId3"/>
    <p:sldId id="307" r:id="rId4"/>
    <p:sldId id="308" r:id="rId5"/>
    <p:sldId id="309" r:id="rId6"/>
    <p:sldId id="310" r:id="rId7"/>
    <p:sldId id="311" r:id="rId8"/>
    <p:sldId id="312" r:id="rId9"/>
    <p:sldId id="313" r:id="rId10"/>
    <p:sldId id="314" r:id="rId11"/>
    <p:sldId id="315" r:id="rId12"/>
    <p:sldId id="316" r:id="rId13"/>
    <p:sldId id="317" r:id="rId14"/>
    <p:sldId id="320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1" d="100"/>
          <a:sy n="91" d="100"/>
        </p:scale>
        <p:origin x="1296" y="-27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3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3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3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3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3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3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5.png"/><Relationship Id="rId7" Type="http://schemas.openxmlformats.org/officeDocument/2006/relationships/image" Target="../media/image1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.png"/><Relationship Id="rId7" Type="http://schemas.openxmlformats.org/officeDocument/2006/relationships/image" Target="../media/image20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23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карты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.В.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зеев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766358" y="3257781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5_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26776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ы временные затраты на процесс публикации информационных материалов об образовательных событиях в сети «Интернет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;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Разработан стандарт процесса публикации информационных материалов об образовательных событиях в сети «Интернет»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39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323528" y="678941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FF0000"/>
                </a:solidFill>
              </a:rPr>
              <a:t>До </a:t>
            </a:r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215E2FE-5B06-404E-A5CC-1E216CE0EF9E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59" b="32184"/>
          <a:stretch/>
        </p:blipFill>
        <p:spPr bwMode="auto">
          <a:xfrm>
            <a:off x="6914605" y="313509"/>
            <a:ext cx="1876507" cy="478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4283704" y="769744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FF0000"/>
                </a:solidFill>
              </a:rPr>
              <a:t>После </a:t>
            </a:r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2" name="Picture 2" descr="https://sun9-29.userapi.com/s/v1/ig2/Jf6uJQZN6fMmS5Yzk-NIUsQnUtvOwoLuN_M8ZtvJILVMdrhc86pFkT9a5jEZLlqsI_SLRHM7S02FSIEgpuXCFYcb.jpg?quality=95&amp;as=32x43,48x64,72x96,108x144,160x213,240x320,360x480,480x640,540x720,640x853,720x960,1080x1440,1280x1707,1440x1920,1920x2560&amp;from=bu&amp;u=6tTo1mKQ7VxlkcWtPYwYjyLzRK5j6WhjTmT8tTzvj4M&amp;cs=1620x216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2081" y="3777976"/>
            <a:ext cx="1755135" cy="2340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9068" y="3858257"/>
            <a:ext cx="2527666" cy="228838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4855" y="1351037"/>
            <a:ext cx="3556091" cy="2282923"/>
          </a:xfrm>
          <a:prstGeom prst="rect">
            <a:avLst/>
          </a:prstGeom>
        </p:spPr>
      </p:pic>
      <p:pic>
        <p:nvPicPr>
          <p:cNvPr id="12" name="Picture 4" descr="Picture background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993" y="2055100"/>
            <a:ext cx="2221790" cy="1578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5764" y="1281129"/>
            <a:ext cx="2572099" cy="99574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0423" y="3816745"/>
            <a:ext cx="2106548" cy="830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4465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215E2FE-5B06-404E-A5CC-1E216CE0EF9E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59" b="32184"/>
          <a:stretch/>
        </p:blipFill>
        <p:spPr bwMode="auto">
          <a:xfrm>
            <a:off x="6914605" y="313509"/>
            <a:ext cx="1876507" cy="478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2701447" y="468383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5639" y="3828963"/>
            <a:ext cx="3115122" cy="233634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476408" y="1598815"/>
            <a:ext cx="2268409" cy="170130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363842" y="1595110"/>
            <a:ext cx="2313807" cy="173535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064473" y="3878692"/>
            <a:ext cx="2914162" cy="218562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1090442" y="1290265"/>
            <a:ext cx="3105902" cy="232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434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B4BCE5-C890-4D1E-9F18-8F0E05A14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0687" y="6360982"/>
            <a:ext cx="2133600" cy="365125"/>
          </a:xfrm>
        </p:spPr>
        <p:txBody>
          <a:bodyPr/>
          <a:lstStyle/>
          <a:p>
            <a:fld id="{C33C34FD-A43B-634A-9B8C-9626670F7CE8}" type="slidenum">
              <a:rPr lang="en-US" smtClean="0"/>
              <a:t>13</a:t>
            </a:fld>
            <a:endParaRPr lang="en-US" dirty="0"/>
          </a:p>
        </p:txBody>
      </p:sp>
      <p:sp>
        <p:nvSpPr>
          <p:cNvPr id="11" name="Стрелка: вниз 10">
            <a:extLst>
              <a:ext uri="{FF2B5EF4-FFF2-40B4-BE49-F238E27FC236}">
                <a16:creationId xmlns:a16="http://schemas.microsoft.com/office/drawing/2014/main" id="{C302F457-5E7F-41D4-B725-3E2A6E398EBC}"/>
              </a:ext>
            </a:extLst>
          </p:cNvPr>
          <p:cNvSpPr/>
          <p:nvPr/>
        </p:nvSpPr>
        <p:spPr>
          <a:xfrm>
            <a:off x="208312" y="3375023"/>
            <a:ext cx="484632" cy="978408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дзаголовок 8">
            <a:extLst>
              <a:ext uri="{FF2B5EF4-FFF2-40B4-BE49-F238E27FC236}">
                <a16:creationId xmlns:a16="http://schemas.microsoft.com/office/drawing/2014/main" id="{97D22034-4C4E-4EB6-AF86-C84C633C2DB0}"/>
              </a:ext>
            </a:extLst>
          </p:cNvPr>
          <p:cNvSpPr>
            <a:spLocks/>
          </p:cNvSpPr>
          <p:nvPr/>
        </p:nvSpPr>
        <p:spPr bwMode="auto">
          <a:xfrm>
            <a:off x="3280263" y="5834502"/>
            <a:ext cx="2412274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ередача информации воспитателю, ответственному за сайт, по электронным средствам связи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одзаголовок 8">
            <a:extLst>
              <a:ext uri="{FF2B5EF4-FFF2-40B4-BE49-F238E27FC236}">
                <a16:creationId xmlns:a16="http://schemas.microsoft.com/office/drawing/2014/main" id="{A43E56DC-0466-41D7-B6CE-7E53F06EBD69}"/>
              </a:ext>
            </a:extLst>
          </p:cNvPr>
          <p:cNvSpPr>
            <a:spLocks/>
          </p:cNvSpPr>
          <p:nvPr/>
        </p:nvSpPr>
        <p:spPr bwMode="auto">
          <a:xfrm>
            <a:off x="6142205" y="6010774"/>
            <a:ext cx="2538756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  <a:tabLst>
                <a:tab pos="0" algn="l"/>
              </a:tabLst>
            </a:pPr>
            <a:r>
              <a:rPr lang="ru-RU" sz="1200" b="1" dirty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роверка и размещение информации на сайте и в социальных сетях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одзаголовок 8">
            <a:extLst>
              <a:ext uri="{FF2B5EF4-FFF2-40B4-BE49-F238E27FC236}">
                <a16:creationId xmlns:a16="http://schemas.microsoft.com/office/drawing/2014/main" id="{09548145-737E-4DE1-A226-0AC20569DBD7}"/>
              </a:ext>
            </a:extLst>
          </p:cNvPr>
          <p:cNvSpPr>
            <a:spLocks/>
          </p:cNvSpPr>
          <p:nvPr/>
        </p:nvSpPr>
        <p:spPr bwMode="auto">
          <a:xfrm>
            <a:off x="1449886" y="3590114"/>
            <a:ext cx="255532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одзаголовок 8">
            <a:extLst>
              <a:ext uri="{FF2B5EF4-FFF2-40B4-BE49-F238E27FC236}">
                <a16:creationId xmlns:a16="http://schemas.microsoft.com/office/drawing/2014/main" id="{6C1A7CEA-79E7-4C37-9F2D-2381A1712774}"/>
              </a:ext>
            </a:extLst>
          </p:cNvPr>
          <p:cNvSpPr>
            <a:spLocks/>
          </p:cNvSpPr>
          <p:nvPr/>
        </p:nvSpPr>
        <p:spPr bwMode="auto">
          <a:xfrm>
            <a:off x="6579338" y="3408378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Контроль исполнения поручения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одзаголовок 8">
            <a:extLst>
              <a:ext uri="{FF2B5EF4-FFF2-40B4-BE49-F238E27FC236}">
                <a16:creationId xmlns:a16="http://schemas.microsoft.com/office/drawing/2014/main" id="{8520E2C6-3A2E-4D78-BEBF-7BFF53FAEBBC}"/>
              </a:ext>
            </a:extLst>
          </p:cNvPr>
          <p:cNvSpPr>
            <a:spLocks/>
          </p:cNvSpPr>
          <p:nvPr/>
        </p:nvSpPr>
        <p:spPr bwMode="auto">
          <a:xfrm>
            <a:off x="474925" y="5699012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Сбор и подготовка информации, используя чек-лист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C97AEB70-9EA9-4C57-BE5C-E52F6A8FD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708ECF60-A420-4D5F-A982-55BD96D8DA40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25C2AB8E-0282-4FE1-AE9C-E817C65D8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BE10DFFA-228E-4B8F-9ED3-026F59A04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844" y="767536"/>
            <a:ext cx="8840644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процесса </a:t>
            </a:r>
            <a:b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7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трелка: вниз 28">
            <a:extLst>
              <a:ext uri="{FF2B5EF4-FFF2-40B4-BE49-F238E27FC236}">
                <a16:creationId xmlns:a16="http://schemas.microsoft.com/office/drawing/2014/main" id="{38027A5E-D40B-4C57-81E0-5FAC1D5CD31C}"/>
              </a:ext>
            </a:extLst>
          </p:cNvPr>
          <p:cNvSpPr/>
          <p:nvPr/>
        </p:nvSpPr>
        <p:spPr>
          <a:xfrm rot="16200000">
            <a:off x="5599454" y="4832502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463" y="1695787"/>
            <a:ext cx="2577420" cy="1673440"/>
          </a:xfrm>
          <a:prstGeom prst="rect">
            <a:avLst/>
          </a:prstGeom>
        </p:spPr>
      </p:pic>
      <p:sp>
        <p:nvSpPr>
          <p:cNvPr id="51" name="Подзаголовок 8">
            <a:extLst>
              <a:ext uri="{FF2B5EF4-FFF2-40B4-BE49-F238E27FC236}">
                <a16:creationId xmlns:a16="http://schemas.microsoft.com/office/drawing/2014/main" id="{8520E2C6-3A2E-4D78-BEBF-7BFF53FAEBBC}"/>
              </a:ext>
            </a:extLst>
          </p:cNvPr>
          <p:cNvSpPr>
            <a:spLocks/>
          </p:cNvSpPr>
          <p:nvPr/>
        </p:nvSpPr>
        <p:spPr bwMode="auto">
          <a:xfrm>
            <a:off x="1084414" y="3347757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ередача поручения педагогам о размещении информации по электронным средствам связи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6362" y="4087606"/>
            <a:ext cx="2954284" cy="1642435"/>
          </a:xfrm>
          <a:prstGeom prst="rect">
            <a:avLst/>
          </a:prstGeom>
        </p:spPr>
      </p:pic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CDC8EC71-4E0C-42CD-A90D-C75F31F5D7F0}"/>
              </a:ext>
            </a:extLst>
          </p:cNvPr>
          <p:cNvSpPr/>
          <p:nvPr/>
        </p:nvSpPr>
        <p:spPr>
          <a:xfrm rot="16200000">
            <a:off x="2588279" y="4751551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5919" y="3795681"/>
            <a:ext cx="2099732" cy="191122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59414" y="4538283"/>
            <a:ext cx="2493210" cy="1488119"/>
          </a:xfrm>
          <a:prstGeom prst="rect">
            <a:avLst/>
          </a:prstGeom>
        </p:spPr>
      </p:pic>
      <p:sp>
        <p:nvSpPr>
          <p:cNvPr id="14" name="Стрелка: вверх 13">
            <a:extLst>
              <a:ext uri="{FF2B5EF4-FFF2-40B4-BE49-F238E27FC236}">
                <a16:creationId xmlns:a16="http://schemas.microsoft.com/office/drawing/2014/main" id="{866ECA75-1974-466E-A76F-CFC23C641FEF}"/>
              </a:ext>
            </a:extLst>
          </p:cNvPr>
          <p:cNvSpPr/>
          <p:nvPr/>
        </p:nvSpPr>
        <p:spPr>
          <a:xfrm>
            <a:off x="8109806" y="3712882"/>
            <a:ext cx="484632" cy="932609"/>
          </a:xfrm>
          <a:prstGeom prst="up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9414" y="1778559"/>
            <a:ext cx="2493210" cy="1586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18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4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7F9214-65B7-4DA9-8E70-1F7568E6EF8E}"/>
              </a:ext>
            </a:extLst>
          </p:cNvPr>
          <p:cNvSpPr/>
          <p:nvPr/>
        </p:nvSpPr>
        <p:spPr>
          <a:xfrm>
            <a:off x="683568" y="1099765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ылка на сайт ОО (вкладка Бережливое образование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784960" y="1617229"/>
            <a:ext cx="7223644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://mdou23cheb.ucoz.net/index/berezhlivoe_obrazovanie/0-81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995" y="2200995"/>
            <a:ext cx="8177575" cy="459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902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663256" y="-455316"/>
            <a:ext cx="5625392" cy="7957208"/>
          </a:xfrm>
          <a:prstGeom prst="rect">
            <a:avLst/>
          </a:prstGeom>
        </p:spPr>
      </p:pic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928829" y="20467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23844" y="645612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60 мин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5260004"/>
              </p:ext>
            </p:extLst>
          </p:nvPr>
        </p:nvGraphicFramePr>
        <p:xfrm>
          <a:off x="431589" y="2491033"/>
          <a:ext cx="1751856" cy="12804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поручения о размещении информации 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 мин.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6441889"/>
              </p:ext>
            </p:extLst>
          </p:nvPr>
        </p:nvGraphicFramePr>
        <p:xfrm>
          <a:off x="3746687" y="4486772"/>
          <a:ext cx="4978605" cy="187283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978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Временны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траты и лишние перемещения старшего воспитателя при оповещении педагогических работников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 администратора на ожидание информации от педагогов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Перепроизводство (избыточность) разно-стилевое оформление представляемых материалов педагогами. 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 на процесс публикации информации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5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06772" y="2450229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97663" y="4439115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664786" y="4154113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4259491" y="18850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8320881" y="190228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6520476" y="193673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436479" y="747095"/>
            <a:ext cx="825177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510195"/>
              </p:ext>
            </p:extLst>
          </p:nvPr>
        </p:nvGraphicFramePr>
        <p:xfrm>
          <a:off x="2650083" y="251840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, видео и текстовой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915867"/>
              </p:ext>
            </p:extLst>
          </p:nvPr>
        </p:nvGraphicFramePr>
        <p:xfrm>
          <a:off x="4859338" y="2539810"/>
          <a:ext cx="175185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информации старшему воспитателю на проверку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665887"/>
              </p:ext>
            </p:extLst>
          </p:nvPr>
        </p:nvGraphicFramePr>
        <p:xfrm>
          <a:off x="7150677" y="2522058"/>
          <a:ext cx="175185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информации администратору сайта и сообщества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8608447"/>
              </p:ext>
            </p:extLst>
          </p:nvPr>
        </p:nvGraphicFramePr>
        <p:xfrm>
          <a:off x="792312" y="4655680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убликация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07202" y="204674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37801" y="20184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11037" y="19669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250297" y="421642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472126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55784" y="290424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225454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229587" y="5006593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Пятно 1 60"/>
          <p:cNvSpPr/>
          <p:nvPr/>
        </p:nvSpPr>
        <p:spPr>
          <a:xfrm>
            <a:off x="106772" y="4192909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55275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03663" y="1396386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36830" y="2618192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24437" y="3784394"/>
            <a:ext cx="4196035" cy="2226684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и лишние перемещения старшего воспитателя при оповещении педагогических работников.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администратора на ожидание информации от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дагогов.</a:t>
            </a:r>
            <a:endParaRPr lang="ru-RU" alt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репроизводство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избыточность) разно-стилевое оформление представляемых материалов педагогами. </a:t>
            </a:r>
            <a:endParaRPr lang="ru-RU" alt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траты на процесс публикации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формации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6458754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54381128"/>
              </p:ext>
            </p:extLst>
          </p:nvPr>
        </p:nvGraphicFramePr>
        <p:xfrm>
          <a:off x="123845" y="1024381"/>
          <a:ext cx="8833888" cy="59135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3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6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894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4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Временные</a:t>
                      </a:r>
                      <a:r>
                        <a:rPr lang="ru-RU" alt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траты и лишние перемещения старшего воспитателя при оповещении педагогических работников.</a:t>
                      </a:r>
                      <a:endParaRPr lang="ru-RU" alt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выделенного канала передачи информации, посредством сети интернет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канала передачи в сети интернет, посредством создания группы в ВК мессенджере(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ферум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 группы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Учительская»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1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ин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ременные затраты администратора на ожидание информации от педагогов.</a:t>
                      </a:r>
                      <a:endParaRPr lang="ru-RU" alt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, видео и текстовой информации.</a:t>
                      </a:r>
                    </a:p>
                    <a:p>
                      <a:pPr marL="0" algn="l" defTabSz="914400" rtl="0" eaLnBrk="1" latinLnBrk="0" hangingPunct="1"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 информации старшему воспитателю на проверку.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just"/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утверждение плана-графика предоставления информации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0 </a:t>
                      </a:r>
                      <a:r>
                        <a:rPr kumimoji="0" lang="ru-RU" alt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– 20 мин.</a:t>
                      </a: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производство (избыточность) разно-стилевое оформление представляемых материалов педагогами.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стандарта процесса публикации информационных материалов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быточность текста, фото и видео-материал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-1 мин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alt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на процесс публикации информ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время загрузки «тяжёлых» файлов, большого количества файл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-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30070" y="524614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29" y="33705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17133" y="66112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174249162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10890" y="6069520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мин. </a:t>
            </a:r>
            <a:r>
              <a:rPr lang="ru-RU" sz="1600" b="1" dirty="0" smtClean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397795" y="4129367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-29854" y="822551"/>
            <a:ext cx="8893621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убликации информационных материалов об образовательных событиях МБДОУ «ДС №23» в сети интернет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>
            <a:off x="5807015" y="285656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8428037" y="2794761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933468" y="19899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007292" y="196676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22946" y="39856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5222178" y="2096997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5725026" y="2361008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8273326" y="2287491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4895129" y="3941657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7692204"/>
              </p:ext>
            </p:extLst>
          </p:nvPr>
        </p:nvGraphicFramePr>
        <p:xfrm>
          <a:off x="4090181" y="4360589"/>
          <a:ext cx="4859729" cy="137157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9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утверждение плана-графика представления информационных материалов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чек-листа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 подготовке к публикации информ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гласование канала передачи информации по средствам сети интернет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стандарта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цесса публикации информационных материалов об образовательных событиях в сети «Интернет»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188245" y="4008059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097842"/>
              </p:ext>
            </p:extLst>
          </p:nvPr>
        </p:nvGraphicFramePr>
        <p:xfrm>
          <a:off x="515888" y="2445834"/>
          <a:ext cx="1751856" cy="144813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поручения о размещении информации 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330383"/>
              </p:ext>
            </p:extLst>
          </p:nvPr>
        </p:nvGraphicFramePr>
        <p:xfrm>
          <a:off x="2937377" y="2450628"/>
          <a:ext cx="2515655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15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, видео и текстовой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218314"/>
              </p:ext>
            </p:extLst>
          </p:nvPr>
        </p:nvGraphicFramePr>
        <p:xfrm>
          <a:off x="6452833" y="2510706"/>
          <a:ext cx="175185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ередача информации администратору сайта и сообщества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399188"/>
              </p:ext>
            </p:extLst>
          </p:nvPr>
        </p:nvGraphicFramePr>
        <p:xfrm>
          <a:off x="468487" y="4438812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убликация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" name="Облако 29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2529381" y="2373206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33" name="Облако 3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029330" y="2118181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34" name="Облако 33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101931" y="4379574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521006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38055360"/>
              </p:ext>
            </p:extLst>
          </p:nvPr>
        </p:nvGraphicFramePr>
        <p:xfrm>
          <a:off x="143319" y="1089185"/>
          <a:ext cx="8831416" cy="5740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1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17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917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9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6760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ветственный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и лишние перемещения старшего воспитателя при оповещении педагогических работников.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утверждение плана-графика предоставления информационных материалов  об образовательных событиях для публикаци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 сайте, в социальных сетях.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</a:p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.04.2025г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администратора на ожидание информации от педагогов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гласование канала передачи информации по электронным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редствам связи, рассылка по нему-плана-графика и получение по нему информационных материалов от педагогов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ыкальный руководи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истан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.В. (администратор сайта и социальных групп)</a:t>
                      </a: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.04.2025г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епроизводство (избыточность) разно-стилевое оформление представляемых материалов педагогами.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чек-листа по подготовке к публикации информационных материалов для педагогов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истёлка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Н.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20.04.2025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Временные затраты на процесс публикации информации.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>
                        <a:defRPr/>
                      </a:pPr>
                      <a:endParaRPr lang="ru-RU" alt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роцесса публикации информационных материалов об образовательных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бытиях в сети «Интернет»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ыкальный руководи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истан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.В. (администратор сайта и социальных групп)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69607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655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597656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60 мин.</a:t>
            </a:r>
            <a:endParaRPr lang="ru-RU" sz="28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 smtClean="0">
                <a:solidFill>
                  <a:srgbClr val="0B7B87"/>
                </a:solidFill>
                <a:cs typeface="Arial" panose="020B0604020202020204" pitchFamily="34" charset="0"/>
              </a:rPr>
              <a:t>30 мин.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</a:t>
            </a:r>
            <a:r>
              <a:rPr lang="ru-RU" altLang="ru-RU" b="1" dirty="0" smtClean="0">
                <a:solidFill>
                  <a:srgbClr val="002060"/>
                </a:solidFill>
              </a:rPr>
              <a:t>50 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02939" y="4452217"/>
            <a:ext cx="838386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овани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нала передачи информации по электронным средства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язи.</a:t>
            </a:r>
          </a:p>
          <a:p>
            <a:pPr algn="just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сыл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му, разработанного плана-график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нему информационных материалов от педагогов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к-листа по подготовке к публикации информационных материалов дл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ов.</a:t>
            </a:r>
          </a:p>
          <a:p>
            <a:pPr algn="just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стандарта процесса публикации информационных материалов об образовательных событиях в сети «Интернет»</a:t>
            </a:r>
          </a:p>
          <a:p>
            <a:pPr algn="just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945" y="6477729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343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38472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ован канал передачи информации посредством сети «Интернет».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 план-график предоставления информационных материалов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стандарт процесса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бликации информационных материалов об образовательных событиях в сети интернет для педагогов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стандарт процесса публикации информационных материалов об образовательных событиях в сети интернет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администратора официального сайта и сообщества ВК.</a:t>
            </a: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+mj-lt"/>
              <a:buAutoNum type="arabicPeriod"/>
            </a:pPr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077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2</TotalTime>
  <Words>1050</Words>
  <Application>Microsoft Office PowerPoint</Application>
  <PresentationFormat>Экран (4:3)</PresentationFormat>
  <Paragraphs>215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0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Достигнутые результаты (было и стало) </vt:lpstr>
      <vt:lpstr>Челябинская область</vt:lpstr>
      <vt:lpstr>Челябинская область</vt:lpstr>
      <vt:lpstr>Презентация PowerPoint</vt:lpstr>
      <vt:lpstr>Презентация PowerPoint</vt:lpstr>
      <vt:lpstr> Стандарт процесса  «Оптимизация процесса публикации информационных материалов об образовательных событиях МБДОУ «ДС №23» в сети интернет»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настасия Прудникова</cp:lastModifiedBy>
  <cp:revision>177</cp:revision>
  <cp:lastPrinted>2019-04-25T09:14:46Z</cp:lastPrinted>
  <dcterms:created xsi:type="dcterms:W3CDTF">2018-08-20T14:01:12Z</dcterms:created>
  <dcterms:modified xsi:type="dcterms:W3CDTF">2025-05-13T05:53:04Z</dcterms:modified>
</cp:coreProperties>
</file>